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7" r:id="rId2"/>
    <p:sldId id="431" r:id="rId3"/>
    <p:sldId id="433" r:id="rId4"/>
    <p:sldId id="434" r:id="rId5"/>
    <p:sldId id="435" r:id="rId6"/>
    <p:sldId id="436" r:id="rId7"/>
    <p:sldId id="425" r:id="rId8"/>
    <p:sldId id="437" r:id="rId9"/>
    <p:sldId id="438" r:id="rId10"/>
    <p:sldId id="439" r:id="rId11"/>
    <p:sldId id="440" r:id="rId12"/>
    <p:sldId id="441" r:id="rId13"/>
    <p:sldId id="442" r:id="rId14"/>
    <p:sldId id="443" r:id="rId15"/>
    <p:sldId id="444" r:id="rId16"/>
  </p:sldIdLst>
  <p:sldSz cx="12192000" cy="6858000"/>
  <p:notesSz cx="6858000" cy="9144000"/>
  <p:custDataLst>
    <p:tags r:id="rId1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senza titolo" id="{7C86CB0B-91E4-46BF-9667-402350DCE337}">
          <p14:sldIdLst>
            <p14:sldId id="257"/>
            <p14:sldId id="431"/>
            <p14:sldId id="433"/>
            <p14:sldId id="434"/>
            <p14:sldId id="435"/>
            <p14:sldId id="436"/>
            <p14:sldId id="425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89659" autoAdjust="0"/>
  </p:normalViewPr>
  <p:slideViewPr>
    <p:cSldViewPr snapToGrid="0">
      <p:cViewPr varScale="1">
        <p:scale>
          <a:sx n="66" d="100"/>
          <a:sy n="66" d="100"/>
        </p:scale>
        <p:origin x="6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4961E6D8-7933-E92B-3E1F-D0897ED6E2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33EDE4D3-A6E4-EA30-04D9-CBDAD5A341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881AFD-08B7-403F-85BE-6ED0D3FBEB71}" type="datetimeFigureOut">
              <a:rPr lang="it-IT" smtClean="0"/>
              <a:t>23/11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F0FC889E-4E4D-2F32-223D-54E38A05B0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124A04A-6EE8-3767-FC57-DDE46B132A6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ADB6F7-0089-4E01-869B-3B49D23682E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67537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AA3D05-8067-4611-8B94-CE50F365D61A}" type="datetimeFigureOut">
              <a:rPr lang="it-IT" smtClean="0"/>
              <a:t>23/11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EA6409-2579-49AF-964C-5DBD5C1DEF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4077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EA6409-2579-49AF-964C-5DBD5C1DEFD5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7907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EA6409-2579-49AF-964C-5DBD5C1DEFD5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2150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81CF6FB-1F6E-63DA-F4B9-DFDD94C2D2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322C6DE7-F0D9-3879-23C7-CB10E0A72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89D6A7D-9678-DA39-A3A4-E7E22FA06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0200" y="6356350"/>
            <a:ext cx="8870949" cy="365125"/>
          </a:xfrm>
        </p:spPr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  <a:endParaRPr lang="it-IT" dirty="0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564A267-958E-4C00-8730-34D6C0A8C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148" y="6356350"/>
            <a:ext cx="2152651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0084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529279-DC48-D4D2-2750-A35F31FEB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74E4194-74CD-3840-324D-458877E64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0DED0FE-EF82-3607-34A1-603CE2F76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2D34236-0584-20B1-DE03-8484786D0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96EFFE7-DB67-FB44-15CE-1522D943B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61649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05B404E-5E63-D2B0-B4ED-2B3D4557EE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ABA54F2-45CF-787A-DEAA-B67C654ABE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2B1F606-483B-C867-F141-D91C16BAE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084D75-F2B9-8A82-D239-834426863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B4A8C8D-F900-C0A4-EE62-DA4114B22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2325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D6254E5-2D79-653D-9112-2159C8052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6A57F7E-BE30-BD60-70CA-47E030FE24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F95D9A7-BB47-C964-A786-17A8130BD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DD27A9A-FAA8-78FB-A56E-A964FC9A9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6860D7F-7640-67A6-ACFF-68524D7B3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581911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F203E51-93A6-A4F9-492E-A705A7BC1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5D27254-6690-DBAF-78E3-22CE9BE3D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216B226-5EBE-64C0-5B75-BBADB3A355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EEFE4B5-9BC8-5015-4079-C51DE06F6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E9F271C-566F-CC66-E583-EC36C9EE8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1867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B9C8B9E-EF09-3A41-AAB2-E34743FA9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D900EFA-A547-202C-5376-CC231B2DD6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50AC687-9A57-CDFF-DC65-FDFB5971E1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51C3453-60CF-D560-BECF-15D7EDF63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D7604E0-9169-112C-EA60-5899F7311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44F90F5-9781-491A-8E9E-3F8E81ACF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24532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608CDD5-5FB3-50CD-CBBC-FDFFB3356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A7E201-C595-8628-CEDF-A65E0FCE7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D2C20F8-1705-2032-4F6F-1294AF19A4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A3E55F5-CE8C-4876-2852-8131682928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E565B1AD-9EC1-7570-1DCC-560321F4C4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9DF2BDF-354D-476F-0E4B-4074173BB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D8060739-3461-E269-6D0A-C982AE864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ECCB7261-942D-58D6-0555-AEBC8E08E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249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B7E458C-CE1B-50A6-1008-E2E1819B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ACCC8DC-3835-5C78-FE5A-4396EADAA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990065DB-30B8-19E4-18F2-20AD81AED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C07DD37-0045-C5BC-DD69-3F8868094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5774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5023407-8438-36F4-7963-95152AECA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F1A8EF0-9451-1D2B-553D-869E28B41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2262DDC-5758-5393-9540-33D7EE1E1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0803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402938A-CAB1-9223-D1A7-D3719ADF3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63D3512-6A5F-4F3D-70B3-80484CD43B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79DC6EC-4DE7-1758-3F5C-CB9CECC628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3B492B1-497C-39DF-028D-FD58675CB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DC70D0BD-7DF4-4AD5-F90C-0C8F611A0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26FB0B1-FF5C-C283-5CED-B96ED192E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4747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120B89D-FC45-EF9B-95ED-7935D0091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1680614-96DB-26D6-BDF3-2F6938AE56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59B0C1D-55CB-75F6-F2DB-97723BEE33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39347F05-27F6-B32C-BCE5-52E618742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517D427-A7FA-AF3A-5B8F-5806C7DFC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7360317D-40D6-868F-F3FB-801DA6FE2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5746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DD87C45-E9A1-9FEB-8B0C-A1FDFB25A0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62109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270" imgH="270" progId="TCLayout.ActiveDocument.1">
                  <p:embed/>
                </p:oleObj>
              </mc:Choice>
              <mc:Fallback>
                <p:oleObj name="Diapositiva think-cell" r:id="rId14" imgW="270" imgH="27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D87C45-E9A1-9FEB-8B0C-A1FDFB25A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F30B60A1-6E48-D0C8-0055-33B261F77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1109C75-CA13-C3DE-BE2F-9CF13E06E7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EC5B45A-CD45-7C59-CF38-26901224C8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ACD34DD-3FB5-5BBF-50FA-891C68756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it-IT"/>
              <a:t>‘Statistica per l’Impresa’, Roberto Cannata, 2024 - ©Biggeri et al. (2017), Pearson / @Giovanni Millo slide corso Stat. Impresa 21-24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D83E6C3-D073-10F3-74BB-F9531A3FF9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A31E48E-DAA0-470A-BBA8-637971DE5CD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7230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33A20C-27D8-6A67-071B-D06BFE8D7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840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04" imgH="403" progId="TCLayout.ActiveDocument.1">
                  <p:embed/>
                </p:oleObj>
              </mc:Choice>
              <mc:Fallback>
                <p:oleObj name="Diapositiva think-cell" r:id="rId4" imgW="404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84C23F9-65C4-CF7D-4713-461D934EAD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1120" y="1178401"/>
            <a:ext cx="9144000" cy="843597"/>
          </a:xfrm>
        </p:spPr>
        <p:txBody>
          <a:bodyPr vert="horz">
            <a:normAutofit/>
          </a:bodyPr>
          <a:lstStyle/>
          <a:p>
            <a:r>
              <a:rPr lang="it-IT" sz="4000" dirty="0"/>
              <a:t>Previsione delle serie storiche in Excel</a:t>
            </a:r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089C95DE-8148-8FA3-F5D2-82DCF7957332}"/>
              </a:ext>
            </a:extLst>
          </p:cNvPr>
          <p:cNvCxnSpPr/>
          <p:nvPr/>
        </p:nvCxnSpPr>
        <p:spPr>
          <a:xfrm>
            <a:off x="512064" y="6135624"/>
            <a:ext cx="1118311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70BD4D5-8D0D-B888-C8A9-5F98CBD13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10236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10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E OPZIONI DELLA FUNZIONE DI PREVISIONE IN EXCEL</a:t>
            </a:r>
            <a:endParaRPr lang="it-IT" b="1" baseline="300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509EEDE-4E0B-09AB-D0DA-EF74489ED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031" y="680948"/>
            <a:ext cx="8505825" cy="531614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95521B73-EC0D-B167-93AD-18D346C7707B}"/>
              </a:ext>
            </a:extLst>
          </p:cNvPr>
          <p:cNvSpPr txBox="1"/>
          <p:nvPr/>
        </p:nvSpPr>
        <p:spPr>
          <a:xfrm>
            <a:off x="9344025" y="1873108"/>
            <a:ext cx="2076449" cy="14773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Posso modificare l’intervallo temporale selezionato in precedenza</a:t>
            </a:r>
          </a:p>
        </p:txBody>
      </p: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1F88B330-2F77-D18D-FD55-F76943F793A3}"/>
              </a:ext>
            </a:extLst>
          </p:cNvPr>
          <p:cNvCxnSpPr>
            <a:cxnSpLocks/>
          </p:cNvCxnSpPr>
          <p:nvPr/>
        </p:nvCxnSpPr>
        <p:spPr>
          <a:xfrm flipH="1">
            <a:off x="7115175" y="2663168"/>
            <a:ext cx="2228850" cy="16626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77C60E9-CF0B-7940-7529-E5870CBBC5A7}"/>
              </a:ext>
            </a:extLst>
          </p:cNvPr>
          <p:cNvSpPr txBox="1"/>
          <p:nvPr/>
        </p:nvSpPr>
        <p:spPr>
          <a:xfrm>
            <a:off x="9578520" y="3714446"/>
            <a:ext cx="2076449" cy="23083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Posso modificare l’intervallo di dati storici su cui faccio la stima (deve essere coerente con l’intervallo temporale)</a:t>
            </a: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68008EEB-721E-9F14-3692-A215AB7604B0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7781925" y="4710428"/>
            <a:ext cx="1796595" cy="1581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40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11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E OPZIONI DELLA FUNZIONE DI PREVISIONE IN EXCEL</a:t>
            </a:r>
            <a:endParaRPr lang="it-IT" b="1" baseline="300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509EEDE-4E0B-09AB-D0DA-EF74489ED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031" y="680948"/>
            <a:ext cx="8505825" cy="531614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95521B73-EC0D-B167-93AD-18D346C7707B}"/>
              </a:ext>
            </a:extLst>
          </p:cNvPr>
          <p:cNvSpPr txBox="1"/>
          <p:nvPr/>
        </p:nvSpPr>
        <p:spPr>
          <a:xfrm>
            <a:off x="9439275" y="680948"/>
            <a:ext cx="2076449" cy="23083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Nel caso di dati mancanti nella serie originale Excel fa una stima. Con questa opzione posso indicare il metodo di stima</a:t>
            </a:r>
          </a:p>
        </p:txBody>
      </p: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1F88B330-2F77-D18D-FD55-F76943F793A3}"/>
              </a:ext>
            </a:extLst>
          </p:cNvPr>
          <p:cNvCxnSpPr>
            <a:cxnSpLocks/>
          </p:cNvCxnSpPr>
          <p:nvPr/>
        </p:nvCxnSpPr>
        <p:spPr>
          <a:xfrm flipH="1">
            <a:off x="7334250" y="1679373"/>
            <a:ext cx="2120002" cy="3067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77C60E9-CF0B-7940-7529-E5870CBBC5A7}"/>
              </a:ext>
            </a:extLst>
          </p:cNvPr>
          <p:cNvSpPr txBox="1"/>
          <p:nvPr/>
        </p:nvSpPr>
        <p:spPr>
          <a:xfrm>
            <a:off x="9454252" y="3095110"/>
            <a:ext cx="2076449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Se ci fossero periodi duplicati, Excel li compatta e mi consente nel caso di selezionare il criterio</a:t>
            </a: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68008EEB-721E-9F14-3692-A215AB7604B0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7229475" y="3972273"/>
            <a:ext cx="2224777" cy="113858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84FDC389-BD63-5CB8-1C29-E45DA28B32EA}"/>
              </a:ext>
            </a:extLst>
          </p:cNvPr>
          <p:cNvSpPr txBox="1"/>
          <p:nvPr/>
        </p:nvSpPr>
        <p:spPr>
          <a:xfrm>
            <a:off x="9493680" y="4940950"/>
            <a:ext cx="2076449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SUGGERIMENTO: </a:t>
            </a:r>
            <a:r>
              <a:rPr lang="it-IT" b="1" dirty="0"/>
              <a:t>LASCIATE LE OPZIONI DI DEFAULT</a:t>
            </a:r>
          </a:p>
        </p:txBody>
      </p:sp>
    </p:spTree>
    <p:extLst>
      <p:ext uri="{BB962C8B-B14F-4D97-AF65-F5344CB8AC3E}">
        <p14:creationId xmlns:p14="http://schemas.microsoft.com/office/powerpoint/2010/main" val="286702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12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RIVEDIAMO L’OUTPUT DI SLIDE  5 CON L’OPZIONE DELLE STATISTICHE DESCRITTIVE</a:t>
            </a:r>
            <a:endParaRPr lang="it-IT" b="1" baseline="30000" dirty="0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2749DC44-FA60-833E-433C-BAD31A390E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903185"/>
            <a:ext cx="7648575" cy="5002582"/>
          </a:xfrm>
          <a:prstGeom prst="rect">
            <a:avLst/>
          </a:prstGeom>
        </p:spPr>
      </p:pic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2B6F8B36-BB72-B9E1-0A1E-3DB890EBE84B}"/>
              </a:ext>
            </a:extLst>
          </p:cNvPr>
          <p:cNvCxnSpPr>
            <a:cxnSpLocks/>
          </p:cNvCxnSpPr>
          <p:nvPr/>
        </p:nvCxnSpPr>
        <p:spPr>
          <a:xfrm flipH="1">
            <a:off x="5734050" y="1876425"/>
            <a:ext cx="2295525" cy="95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magine 18">
            <a:extLst>
              <a:ext uri="{FF2B5EF4-FFF2-40B4-BE49-F238E27FC236}">
                <a16:creationId xmlns:a16="http://schemas.microsoft.com/office/drawing/2014/main" id="{F772688A-D2F6-0E05-3778-93341786C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9575" y="1609725"/>
            <a:ext cx="3873930" cy="3274376"/>
          </a:xfrm>
          <a:prstGeom prst="rect">
            <a:avLst/>
          </a:prstGeom>
        </p:spPr>
      </p:pic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1DB20A7D-9794-CD69-9AF8-3929F607A104}"/>
              </a:ext>
            </a:extLst>
          </p:cNvPr>
          <p:cNvCxnSpPr>
            <a:cxnSpLocks/>
          </p:cNvCxnSpPr>
          <p:nvPr/>
        </p:nvCxnSpPr>
        <p:spPr>
          <a:xfrm flipH="1" flipV="1">
            <a:off x="5734050" y="2038350"/>
            <a:ext cx="2295525" cy="8286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699013B2-BA04-7529-A523-9D682B8687F6}"/>
              </a:ext>
            </a:extLst>
          </p:cNvPr>
          <p:cNvCxnSpPr>
            <a:cxnSpLocks/>
          </p:cNvCxnSpPr>
          <p:nvPr/>
        </p:nvCxnSpPr>
        <p:spPr>
          <a:xfrm flipH="1">
            <a:off x="1056640" y="3429000"/>
            <a:ext cx="975360" cy="27873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55EF3BA6-697F-55AB-7DCA-592DA00348BD}"/>
              </a:ext>
            </a:extLst>
          </p:cNvPr>
          <p:cNvSpPr txBox="1"/>
          <p:nvPr/>
        </p:nvSpPr>
        <p:spPr>
          <a:xfrm>
            <a:off x="8153400" y="5002403"/>
            <a:ext cx="3800475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it-IT" b="1" i="1" dirty="0"/>
              <a:t>Pour </a:t>
            </a:r>
            <a:r>
              <a:rPr lang="it-IT" b="1" i="1" dirty="0" err="1"/>
              <a:t>memoire</a:t>
            </a:r>
            <a:r>
              <a:rPr lang="it-IT" b="1" i="1" dirty="0"/>
              <a:t> (slide 7)</a:t>
            </a:r>
            <a:r>
              <a:rPr lang="it-IT" b="1" dirty="0"/>
              <a:t>: i parametri sono compresi tra 0 1 . Maggiore è il valore</a:t>
            </a:r>
            <a:r>
              <a:rPr lang="it-IT" dirty="0"/>
              <a:t>, </a:t>
            </a:r>
            <a:r>
              <a:rPr lang="it-IT" b="1" dirty="0"/>
              <a:t>maggiore è il peso </a:t>
            </a:r>
            <a:r>
              <a:rPr lang="it-IT" dirty="0"/>
              <a:t>che diamo alle </a:t>
            </a:r>
            <a:r>
              <a:rPr lang="it-IT" b="1" dirty="0"/>
              <a:t>osservazioni più recenti</a:t>
            </a:r>
          </a:p>
        </p:txBody>
      </p:sp>
      <p:cxnSp>
        <p:nvCxnSpPr>
          <p:cNvPr id="34" name="Connettore 2 33">
            <a:extLst>
              <a:ext uri="{FF2B5EF4-FFF2-40B4-BE49-F238E27FC236}">
                <a16:creationId xmlns:a16="http://schemas.microsoft.com/office/drawing/2014/main" id="{1FE81D45-E144-CD99-B14A-24B952D4AEA4}"/>
              </a:ext>
            </a:extLst>
          </p:cNvPr>
          <p:cNvCxnSpPr>
            <a:cxnSpLocks/>
          </p:cNvCxnSpPr>
          <p:nvPr/>
        </p:nvCxnSpPr>
        <p:spPr>
          <a:xfrm flipH="1">
            <a:off x="1229360" y="3429000"/>
            <a:ext cx="1818640" cy="2773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D499F525-AEA6-A913-192E-B42D19135786}"/>
              </a:ext>
            </a:extLst>
          </p:cNvPr>
          <p:cNvCxnSpPr>
            <a:cxnSpLocks/>
          </p:cNvCxnSpPr>
          <p:nvPr/>
        </p:nvCxnSpPr>
        <p:spPr>
          <a:xfrm flipH="1">
            <a:off x="1534160" y="3429000"/>
            <a:ext cx="2702560" cy="2773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95B5815C-465E-EBDB-C32A-8F7299179F65}"/>
              </a:ext>
            </a:extLst>
          </p:cNvPr>
          <p:cNvSpPr txBox="1"/>
          <p:nvPr/>
        </p:nvSpPr>
        <p:spPr>
          <a:xfrm>
            <a:off x="288495" y="6321034"/>
            <a:ext cx="10905695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it-IT" sz="1400" i="1" dirty="0"/>
              <a:t>Nelle celle vengono riportate le formule Excel che possono anche essere utilizzate singolarmente (</a:t>
            </a:r>
            <a:r>
              <a:rPr lang="it-IT" sz="1400" i="1" dirty="0" err="1"/>
              <a:t>previsione.ets</a:t>
            </a:r>
            <a:r>
              <a:rPr lang="it-IT" sz="1400" i="1" dirty="0"/>
              <a:t>) – slide 15</a:t>
            </a:r>
            <a:endParaRPr lang="it-IT" sz="1400" dirty="0"/>
          </a:p>
        </p:txBody>
      </p:sp>
      <p:cxnSp>
        <p:nvCxnSpPr>
          <p:cNvPr id="3" name="Connettore 2 2">
            <a:extLst>
              <a:ext uri="{FF2B5EF4-FFF2-40B4-BE49-F238E27FC236}">
                <a16:creationId xmlns:a16="http://schemas.microsoft.com/office/drawing/2014/main" id="{44579488-EB46-8DAC-1161-BB7EEEDA9877}"/>
              </a:ext>
            </a:extLst>
          </p:cNvPr>
          <p:cNvCxnSpPr>
            <a:cxnSpLocks/>
          </p:cNvCxnSpPr>
          <p:nvPr/>
        </p:nvCxnSpPr>
        <p:spPr>
          <a:xfrm flipH="1" flipV="1">
            <a:off x="5800725" y="2200275"/>
            <a:ext cx="2352675" cy="20669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05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13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RIVEDIAMO L’OUTPUT DI SLIDE  5 CON L’OPZIONE DELLE STATISTICHE DESCRITTIVE</a:t>
            </a:r>
            <a:endParaRPr lang="it-IT" b="1" baseline="30000" dirty="0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2749DC44-FA60-833E-433C-BAD31A390E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903185"/>
            <a:ext cx="7648575" cy="5002582"/>
          </a:xfrm>
          <a:prstGeom prst="rect">
            <a:avLst/>
          </a:prstGeom>
        </p:spPr>
      </p:pic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2B6F8B36-BB72-B9E1-0A1E-3DB890EBE84B}"/>
              </a:ext>
            </a:extLst>
          </p:cNvPr>
          <p:cNvCxnSpPr>
            <a:cxnSpLocks/>
          </p:cNvCxnSpPr>
          <p:nvPr/>
        </p:nvCxnSpPr>
        <p:spPr>
          <a:xfrm flipH="1">
            <a:off x="5734050" y="2008933"/>
            <a:ext cx="2398840" cy="4364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1DB20A7D-9794-CD69-9AF8-3929F607A104}"/>
              </a:ext>
            </a:extLst>
          </p:cNvPr>
          <p:cNvCxnSpPr>
            <a:cxnSpLocks/>
          </p:cNvCxnSpPr>
          <p:nvPr/>
        </p:nvCxnSpPr>
        <p:spPr>
          <a:xfrm flipH="1" flipV="1">
            <a:off x="5734050" y="2540691"/>
            <a:ext cx="2533650" cy="1253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699013B2-BA04-7529-A523-9D682B8687F6}"/>
              </a:ext>
            </a:extLst>
          </p:cNvPr>
          <p:cNvCxnSpPr>
            <a:cxnSpLocks/>
          </p:cNvCxnSpPr>
          <p:nvPr/>
        </p:nvCxnSpPr>
        <p:spPr>
          <a:xfrm flipH="1" flipV="1">
            <a:off x="5803392" y="2700605"/>
            <a:ext cx="2329498" cy="3876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8164B7E6-7B71-4350-C661-00910510D4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1541" y="1013325"/>
            <a:ext cx="4140459" cy="2756401"/>
          </a:xfrm>
          <a:prstGeom prst="rect">
            <a:avLst/>
          </a:prstGeom>
        </p:spPr>
      </p:pic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989679BC-30C6-894C-C446-F5B46D019195}"/>
              </a:ext>
            </a:extLst>
          </p:cNvPr>
          <p:cNvCxnSpPr>
            <a:cxnSpLocks/>
          </p:cNvCxnSpPr>
          <p:nvPr/>
        </p:nvCxnSpPr>
        <p:spPr>
          <a:xfrm flipH="1">
            <a:off x="5734050" y="1393984"/>
            <a:ext cx="2398840" cy="89143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B250447A-6288-ED1C-B4DC-93A30678FC28}"/>
              </a:ext>
            </a:extLst>
          </p:cNvPr>
          <p:cNvSpPr txBox="1"/>
          <p:nvPr/>
        </p:nvSpPr>
        <p:spPr>
          <a:xfrm>
            <a:off x="8051541" y="3924979"/>
            <a:ext cx="3800475" cy="20313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it-IT" sz="1400" i="1" dirty="0"/>
              <a:t>MASE </a:t>
            </a:r>
            <a:r>
              <a:rPr lang="it-IT" sz="1400" i="1" dirty="0">
                <a:sym typeface="Wingdings" panose="05000000000000000000" pitchFamily="2" charset="2"/>
              </a:rPr>
              <a:t> per confrontare due modelli differenti. Si sceglie quello con il MASE più basso</a:t>
            </a:r>
          </a:p>
          <a:p>
            <a:r>
              <a:rPr lang="it-IT" sz="1400" b="1" i="1" dirty="0">
                <a:sym typeface="Wingdings" panose="05000000000000000000" pitchFamily="2" charset="2"/>
              </a:rPr>
              <a:t>SMAPE  MOLTO UTILE: varia tra 0 (previsione perfetta) e 1 (il modello non fa previsioni affidabili)</a:t>
            </a:r>
          </a:p>
          <a:p>
            <a:r>
              <a:rPr lang="it-IT" sz="1400" i="1" dirty="0">
                <a:sym typeface="Wingdings" panose="05000000000000000000" pitchFamily="2" charset="2"/>
              </a:rPr>
              <a:t>MAE  la media dei valori assoluti degli errori (la scala è quella della variabile in oggetto)</a:t>
            </a:r>
          </a:p>
          <a:p>
            <a:r>
              <a:rPr lang="it-IT" sz="1400" i="1" dirty="0">
                <a:sym typeface="Wingdings" panose="05000000000000000000" pitchFamily="2" charset="2"/>
              </a:rPr>
              <a:t>RMSE  Indice della variabilità degli errori (simile come utilità al MAE)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149673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14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PER I CURIOSI DELLE FORMULE*</a:t>
            </a:r>
            <a:endParaRPr lang="it-IT" b="1" baseline="30000" dirty="0"/>
          </a:p>
        </p:txBody>
      </p:sp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2B6F8B36-BB72-B9E1-0A1E-3DB890EBE84B}"/>
              </a:ext>
            </a:extLst>
          </p:cNvPr>
          <p:cNvCxnSpPr>
            <a:cxnSpLocks/>
          </p:cNvCxnSpPr>
          <p:nvPr/>
        </p:nvCxnSpPr>
        <p:spPr>
          <a:xfrm flipH="1" flipV="1">
            <a:off x="7684810" y="1854266"/>
            <a:ext cx="880070" cy="104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1DB20A7D-9794-CD69-9AF8-3929F607A104}"/>
              </a:ext>
            </a:extLst>
          </p:cNvPr>
          <p:cNvCxnSpPr>
            <a:cxnSpLocks/>
          </p:cNvCxnSpPr>
          <p:nvPr/>
        </p:nvCxnSpPr>
        <p:spPr>
          <a:xfrm flipH="1" flipV="1">
            <a:off x="5734050" y="2540691"/>
            <a:ext cx="2533650" cy="1253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699013B2-BA04-7529-A523-9D682B8687F6}"/>
              </a:ext>
            </a:extLst>
          </p:cNvPr>
          <p:cNvCxnSpPr>
            <a:cxnSpLocks/>
          </p:cNvCxnSpPr>
          <p:nvPr/>
        </p:nvCxnSpPr>
        <p:spPr>
          <a:xfrm flipH="1">
            <a:off x="7277341" y="3164090"/>
            <a:ext cx="990359" cy="330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8164B7E6-7B71-4350-C661-00910510D4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0259" y="827864"/>
            <a:ext cx="3660962" cy="2756401"/>
          </a:xfrm>
          <a:prstGeom prst="rect">
            <a:avLst/>
          </a:prstGeom>
        </p:spPr>
      </p:pic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989679BC-30C6-894C-C446-F5B46D019195}"/>
              </a:ext>
            </a:extLst>
          </p:cNvPr>
          <p:cNvCxnSpPr>
            <a:cxnSpLocks/>
          </p:cNvCxnSpPr>
          <p:nvPr/>
        </p:nvCxnSpPr>
        <p:spPr>
          <a:xfrm flipH="1">
            <a:off x="6096000" y="1200987"/>
            <a:ext cx="2362683" cy="698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CasellaDiTesto 3">
                <a:extLst>
                  <a:ext uri="{FF2B5EF4-FFF2-40B4-BE49-F238E27FC236}">
                    <a16:creationId xmlns:a16="http://schemas.microsoft.com/office/drawing/2014/main" id="{E14C5685-225E-E3D5-FB26-037921EF1011}"/>
                  </a:ext>
                </a:extLst>
              </p:cNvPr>
              <p:cNvSpPr txBox="1"/>
              <p:nvPr/>
            </p:nvSpPr>
            <p:spPr>
              <a:xfrm>
                <a:off x="310991" y="993878"/>
                <a:ext cx="5594509" cy="5159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it-IT" i="1" dirty="0"/>
                  <a:t>Mean Absolute </a:t>
                </a:r>
                <a:r>
                  <a:rPr lang="it-IT" i="1" dirty="0" err="1"/>
                  <a:t>Scaled</a:t>
                </a:r>
                <a:r>
                  <a:rPr lang="it-IT" i="1" dirty="0"/>
                  <a:t> </a:t>
                </a:r>
                <a:r>
                  <a:rPr lang="it-IT" i="1" dirty="0" err="1"/>
                  <a:t>Error</a:t>
                </a:r>
                <a:r>
                  <a:rPr lang="it-IT" dirty="0"/>
                  <a:t>:   MASE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it-IT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it-IT" i="1">
                            <a:latin typeface="Cambria Math" panose="02040503050406030204" pitchFamily="18" charset="0"/>
                          </a:rPr>
                          <m:t>𝑚</m:t>
                        </m:r>
                      </m:den>
                    </m:f>
                    <m:nary>
                      <m:naryPr>
                        <m:chr m:val="∑"/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it-IT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f>
                          <m:f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it-IT" i="1" baseline="-25000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𝑡</m:t>
                            </m:r>
                          </m:num>
                          <m:den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it-IT" i="1" baseline="-25000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𝑡</m:t>
                            </m:r>
                            <m:r>
                              <a:rPr lang="it-IT" b="0" i="1" baseline="-15000" dirty="0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it-IT" b="0" i="1" baseline="-25000" dirty="0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nary>
                  </m:oMath>
                </a14:m>
                <a:endParaRPr lang="it-IT" baseline="30000" dirty="0"/>
              </a:p>
            </p:txBody>
          </p:sp>
        </mc:Choice>
        <mc:Fallback>
          <p:sp>
            <p:nvSpPr>
              <p:cNvPr id="4" name="CasellaDiTesto 3">
                <a:extLst>
                  <a:ext uri="{FF2B5EF4-FFF2-40B4-BE49-F238E27FC236}">
                    <a16:creationId xmlns:a16="http://schemas.microsoft.com/office/drawing/2014/main" id="{E14C5685-225E-E3D5-FB26-037921EF10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0991" y="993878"/>
                <a:ext cx="5594509" cy="515910"/>
              </a:xfrm>
              <a:prstGeom prst="rect">
                <a:avLst/>
              </a:prstGeom>
              <a:blipFill>
                <a:blip r:embed="rId4"/>
                <a:stretch>
                  <a:fillRect l="-654" t="-74118" b="-115294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CasellaDiTesto 4">
            <a:extLst>
              <a:ext uri="{FF2B5EF4-FFF2-40B4-BE49-F238E27FC236}">
                <a16:creationId xmlns:a16="http://schemas.microsoft.com/office/drawing/2014/main" id="{FB87A4B5-10EF-5100-7892-8DC95B30CBCD}"/>
              </a:ext>
            </a:extLst>
          </p:cNvPr>
          <p:cNvSpPr txBox="1"/>
          <p:nvPr/>
        </p:nvSpPr>
        <p:spPr>
          <a:xfrm>
            <a:off x="5340930" y="901551"/>
            <a:ext cx="39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^</a:t>
            </a:r>
            <a:endParaRPr lang="it-IT" baseline="-250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CasellaDiTesto 7">
                <a:extLst>
                  <a:ext uri="{FF2B5EF4-FFF2-40B4-BE49-F238E27FC236}">
                    <a16:creationId xmlns:a16="http://schemas.microsoft.com/office/drawing/2014/main" id="{C03A9247-21E2-9199-44CF-DD73FC84A771}"/>
                  </a:ext>
                </a:extLst>
              </p:cNvPr>
              <p:cNvSpPr txBox="1"/>
              <p:nvPr/>
            </p:nvSpPr>
            <p:spPr>
              <a:xfrm>
                <a:off x="187166" y="1661204"/>
                <a:ext cx="7740550" cy="5212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it-IT" i="1" dirty="0"/>
                  <a:t>Symmetric Mean Absolute </a:t>
                </a:r>
                <a:r>
                  <a:rPr lang="it-IT" i="1" dirty="0" err="1"/>
                  <a:t>Percentage</a:t>
                </a:r>
                <a:r>
                  <a:rPr lang="it-IT" i="1" dirty="0"/>
                  <a:t> </a:t>
                </a:r>
                <a:r>
                  <a:rPr lang="it-IT" i="1" dirty="0" err="1"/>
                  <a:t>Error</a:t>
                </a:r>
                <a:r>
                  <a:rPr lang="it-IT" dirty="0"/>
                  <a:t>:   SMAPE 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it-IT" i="1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00</m:t>
                        </m:r>
                      </m:num>
                      <m:den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it-IT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f>
                          <m:f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it-IT" i="1" baseline="-25000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𝑡</m:t>
                            </m:r>
                          </m:num>
                          <m:den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( 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it-IT" i="1" baseline="-25000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it-IT" b="0" i="1" baseline="-25000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+ </m:t>
                            </m:r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it-IT" i="1" baseline="-25000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it-IT" b="0" i="1" baseline="-25000" dirty="0" smtClean="0"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)/2</m:t>
                            </m:r>
                          </m:den>
                        </m:f>
                      </m:e>
                    </m:nary>
                  </m:oMath>
                </a14:m>
                <a:endParaRPr lang="it-IT" baseline="30000" dirty="0"/>
              </a:p>
            </p:txBody>
          </p:sp>
        </mc:Choice>
        <mc:Fallback>
          <p:sp>
            <p:nvSpPr>
              <p:cNvPr id="8" name="CasellaDiTesto 7">
                <a:extLst>
                  <a:ext uri="{FF2B5EF4-FFF2-40B4-BE49-F238E27FC236}">
                    <a16:creationId xmlns:a16="http://schemas.microsoft.com/office/drawing/2014/main" id="{C03A9247-21E2-9199-44CF-DD73FC84A7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166" y="1661204"/>
                <a:ext cx="7740550" cy="521233"/>
              </a:xfrm>
              <a:prstGeom prst="rect">
                <a:avLst/>
              </a:prstGeom>
              <a:blipFill>
                <a:blip r:embed="rId5"/>
                <a:stretch>
                  <a:fillRect l="-552" t="-74118" b="-115294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64FB9AD5-6C4C-87CD-4E3F-B413EA58955B}"/>
              </a:ext>
            </a:extLst>
          </p:cNvPr>
          <p:cNvCxnSpPr/>
          <p:nvPr/>
        </p:nvCxnSpPr>
        <p:spPr>
          <a:xfrm>
            <a:off x="5112330" y="1066800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BD3E1064-F392-00C5-A857-A83D157E7036}"/>
              </a:ext>
            </a:extLst>
          </p:cNvPr>
          <p:cNvCxnSpPr/>
          <p:nvPr/>
        </p:nvCxnSpPr>
        <p:spPr>
          <a:xfrm>
            <a:off x="5636205" y="107632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8E1EC314-D2AA-5723-23F4-7ABB5F4406AA}"/>
              </a:ext>
            </a:extLst>
          </p:cNvPr>
          <p:cNvCxnSpPr/>
          <p:nvPr/>
        </p:nvCxnSpPr>
        <p:spPr>
          <a:xfrm>
            <a:off x="5045655" y="132397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E4EA67A8-D211-AF35-A2FB-10791E33B2C3}"/>
              </a:ext>
            </a:extLst>
          </p:cNvPr>
          <p:cNvCxnSpPr/>
          <p:nvPr/>
        </p:nvCxnSpPr>
        <p:spPr>
          <a:xfrm>
            <a:off x="5712405" y="1352550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>
            <a:extLst>
              <a:ext uri="{FF2B5EF4-FFF2-40B4-BE49-F238E27FC236}">
                <a16:creationId xmlns:a16="http://schemas.microsoft.com/office/drawing/2014/main" id="{0F4A1397-8656-A513-BAFD-A8AD10565DD5}"/>
              </a:ext>
            </a:extLst>
          </p:cNvPr>
          <p:cNvCxnSpPr/>
          <p:nvPr/>
        </p:nvCxnSpPr>
        <p:spPr>
          <a:xfrm>
            <a:off x="6854770" y="170497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76376064-484A-7BD4-19DA-2E8543749D9B}"/>
              </a:ext>
            </a:extLst>
          </p:cNvPr>
          <p:cNvCxnSpPr/>
          <p:nvPr/>
        </p:nvCxnSpPr>
        <p:spPr>
          <a:xfrm>
            <a:off x="7453575" y="172402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12BA1549-A868-92BC-921D-DFC2CE2E5914}"/>
              </a:ext>
            </a:extLst>
          </p:cNvPr>
          <p:cNvSpPr txBox="1"/>
          <p:nvPr/>
        </p:nvSpPr>
        <p:spPr>
          <a:xfrm>
            <a:off x="7115012" y="1540876"/>
            <a:ext cx="39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^</a:t>
            </a:r>
            <a:endParaRPr lang="it-IT" baseline="-25000" dirty="0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3CC43F73-66DF-0B29-0EB3-26426B8D1D86}"/>
              </a:ext>
            </a:extLst>
          </p:cNvPr>
          <p:cNvSpPr txBox="1"/>
          <p:nvPr/>
        </p:nvSpPr>
        <p:spPr>
          <a:xfrm>
            <a:off x="7094692" y="1814107"/>
            <a:ext cx="39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^</a:t>
            </a:r>
          </a:p>
        </p:txBody>
      </p:sp>
      <p:cxnSp>
        <p:nvCxnSpPr>
          <p:cNvPr id="35" name="Connettore diritto 34">
            <a:extLst>
              <a:ext uri="{FF2B5EF4-FFF2-40B4-BE49-F238E27FC236}">
                <a16:creationId xmlns:a16="http://schemas.microsoft.com/office/drawing/2014/main" id="{B55A4389-3318-3531-769D-63C1E98D044F}"/>
              </a:ext>
            </a:extLst>
          </p:cNvPr>
          <p:cNvCxnSpPr/>
          <p:nvPr/>
        </p:nvCxnSpPr>
        <p:spPr>
          <a:xfrm>
            <a:off x="6824925" y="195008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>
            <a:extLst>
              <a:ext uri="{FF2B5EF4-FFF2-40B4-BE49-F238E27FC236}">
                <a16:creationId xmlns:a16="http://schemas.microsoft.com/office/drawing/2014/main" id="{0AB556B6-F39E-90EE-A6D7-C303264AA15F}"/>
              </a:ext>
            </a:extLst>
          </p:cNvPr>
          <p:cNvCxnSpPr/>
          <p:nvPr/>
        </p:nvCxnSpPr>
        <p:spPr>
          <a:xfrm>
            <a:off x="6987485" y="195008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diritto 36">
            <a:extLst>
              <a:ext uri="{FF2B5EF4-FFF2-40B4-BE49-F238E27FC236}">
                <a16:creationId xmlns:a16="http://schemas.microsoft.com/office/drawing/2014/main" id="{D7820776-6B0D-7A7A-99E4-3CBE5D35ACA2}"/>
              </a:ext>
            </a:extLst>
          </p:cNvPr>
          <p:cNvCxnSpPr/>
          <p:nvPr/>
        </p:nvCxnSpPr>
        <p:spPr>
          <a:xfrm>
            <a:off x="7180525" y="193992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diritto 37">
            <a:extLst>
              <a:ext uri="{FF2B5EF4-FFF2-40B4-BE49-F238E27FC236}">
                <a16:creationId xmlns:a16="http://schemas.microsoft.com/office/drawing/2014/main" id="{2B519D68-AE33-5CCB-EFB9-675C9882E90E}"/>
              </a:ext>
            </a:extLst>
          </p:cNvPr>
          <p:cNvCxnSpPr/>
          <p:nvPr/>
        </p:nvCxnSpPr>
        <p:spPr>
          <a:xfrm>
            <a:off x="7343085" y="195008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2" name="CasellaDiTesto 41">
                <a:extLst>
                  <a:ext uri="{FF2B5EF4-FFF2-40B4-BE49-F238E27FC236}">
                    <a16:creationId xmlns:a16="http://schemas.microsoft.com/office/drawing/2014/main" id="{F41D0D99-195A-9503-096F-4C30BF6087E3}"/>
                  </a:ext>
                </a:extLst>
              </p:cNvPr>
              <p:cNvSpPr txBox="1"/>
              <p:nvPr/>
            </p:nvSpPr>
            <p:spPr>
              <a:xfrm>
                <a:off x="413099" y="2282900"/>
                <a:ext cx="10984801" cy="4834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it-IT" i="1" dirty="0"/>
                  <a:t>Mean Absolute </a:t>
                </a:r>
                <a:r>
                  <a:rPr lang="it-IT" i="1" dirty="0" err="1"/>
                  <a:t>Error</a:t>
                </a:r>
                <a:r>
                  <a:rPr lang="it-IT" i="1" dirty="0"/>
                  <a:t> </a:t>
                </a:r>
                <a:r>
                  <a:rPr lang="it-IT" dirty="0"/>
                  <a:t>(MAE):   MAE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den>
                    </m:f>
                  </m:oMath>
                </a14:m>
                <a:r>
                  <a:rPr lang="it-IT" baseline="-25000" dirty="0"/>
                  <a:t>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it-IT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it-IT" b="0" i="1" baseline="-25000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𝑦𝑡</m:t>
                        </m:r>
                      </m:e>
                    </m:nary>
                  </m:oMath>
                </a14:m>
                <a:endParaRPr lang="it-IT" baseline="30000" dirty="0"/>
              </a:p>
            </p:txBody>
          </p:sp>
        </mc:Choice>
        <mc:Fallback>
          <p:sp>
            <p:nvSpPr>
              <p:cNvPr id="42" name="CasellaDiTesto 41">
                <a:extLst>
                  <a:ext uri="{FF2B5EF4-FFF2-40B4-BE49-F238E27FC236}">
                    <a16:creationId xmlns:a16="http://schemas.microsoft.com/office/drawing/2014/main" id="{F41D0D99-195A-9503-096F-4C30BF6087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099" y="2282900"/>
                <a:ext cx="10984801" cy="483466"/>
              </a:xfrm>
              <a:prstGeom prst="rect">
                <a:avLst/>
              </a:prstGeom>
              <a:blipFill>
                <a:blip r:embed="rId6"/>
                <a:stretch>
                  <a:fillRect l="-388" t="-78750" b="-128750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B7D6E320-C2DC-E567-67FC-0A7333D19CDF}"/>
              </a:ext>
            </a:extLst>
          </p:cNvPr>
          <p:cNvSpPr txBox="1"/>
          <p:nvPr/>
        </p:nvSpPr>
        <p:spPr>
          <a:xfrm>
            <a:off x="5381085" y="2242013"/>
            <a:ext cx="39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^</a:t>
            </a:r>
            <a:endParaRPr lang="it-IT" baseline="-25000" dirty="0"/>
          </a:p>
        </p:txBody>
      </p:sp>
      <p:cxnSp>
        <p:nvCxnSpPr>
          <p:cNvPr id="44" name="Connettore diritto 43">
            <a:extLst>
              <a:ext uri="{FF2B5EF4-FFF2-40B4-BE49-F238E27FC236}">
                <a16:creationId xmlns:a16="http://schemas.microsoft.com/office/drawing/2014/main" id="{A370C8BF-E48F-DC63-1B33-37069452C796}"/>
              </a:ext>
            </a:extLst>
          </p:cNvPr>
          <p:cNvCxnSpPr/>
          <p:nvPr/>
        </p:nvCxnSpPr>
        <p:spPr>
          <a:xfrm>
            <a:off x="4965010" y="247713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diritto 44">
            <a:extLst>
              <a:ext uri="{FF2B5EF4-FFF2-40B4-BE49-F238E27FC236}">
                <a16:creationId xmlns:a16="http://schemas.microsoft.com/office/drawing/2014/main" id="{54F239E0-7127-42C3-58FC-530847E686BE}"/>
              </a:ext>
            </a:extLst>
          </p:cNvPr>
          <p:cNvCxnSpPr/>
          <p:nvPr/>
        </p:nvCxnSpPr>
        <p:spPr>
          <a:xfrm>
            <a:off x="5686370" y="2466975"/>
            <a:ext cx="0" cy="159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6" name="CasellaDiTesto 45">
                <a:extLst>
                  <a:ext uri="{FF2B5EF4-FFF2-40B4-BE49-F238E27FC236}">
                    <a16:creationId xmlns:a16="http://schemas.microsoft.com/office/drawing/2014/main" id="{CCEC10ED-3AFC-B2FF-AF3A-EBF4CEF51F2B}"/>
                  </a:ext>
                </a:extLst>
              </p:cNvPr>
              <p:cNvSpPr txBox="1"/>
              <p:nvPr/>
            </p:nvSpPr>
            <p:spPr>
              <a:xfrm>
                <a:off x="413099" y="2951826"/>
                <a:ext cx="10984801" cy="4834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it-IT" i="1" dirty="0"/>
                  <a:t>Root Mean </a:t>
                </a:r>
                <a:r>
                  <a:rPr lang="it-IT" i="1" dirty="0" err="1"/>
                  <a:t>Square</a:t>
                </a:r>
                <a:r>
                  <a:rPr lang="it-IT" i="1" dirty="0"/>
                  <a:t> </a:t>
                </a:r>
                <a:r>
                  <a:rPr lang="it-IT" i="1" dirty="0" err="1"/>
                  <a:t>Error</a:t>
                </a:r>
                <a:r>
                  <a:rPr lang="it-IT" i="1" dirty="0"/>
                  <a:t> </a:t>
                </a:r>
                <a:r>
                  <a:rPr lang="it-IT" dirty="0"/>
                  <a:t>(MSE):   RMSE =  radq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den>
                    </m:f>
                  </m:oMath>
                </a14:m>
                <a:r>
                  <a:rPr lang="it-IT" baseline="-25000" dirty="0"/>
                  <a:t>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it-IT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𝑦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𝑦𝑡</m:t>
                        </m:r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r>
                      <a:rPr lang="it-IT" b="0" i="1" baseline="30000" dirty="0" smtClean="0">
                        <a:latin typeface="Cambria Math" panose="02040503050406030204" pitchFamily="18" charset="0"/>
                      </a:rPr>
                      <m:t>2</m:t>
                    </m:r>
                  </m:oMath>
                </a14:m>
                <a:r>
                  <a:rPr lang="it-IT" dirty="0"/>
                  <a:t>)</a:t>
                </a:r>
              </a:p>
            </p:txBody>
          </p:sp>
        </mc:Choice>
        <mc:Fallback>
          <p:sp>
            <p:nvSpPr>
              <p:cNvPr id="46" name="CasellaDiTesto 45">
                <a:extLst>
                  <a:ext uri="{FF2B5EF4-FFF2-40B4-BE49-F238E27FC236}">
                    <a16:creationId xmlns:a16="http://schemas.microsoft.com/office/drawing/2014/main" id="{CCEC10ED-3AFC-B2FF-AF3A-EBF4CEF51F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099" y="2951826"/>
                <a:ext cx="10984801" cy="483466"/>
              </a:xfrm>
              <a:prstGeom prst="rect">
                <a:avLst/>
              </a:prstGeom>
              <a:blipFill>
                <a:blip r:embed="rId7"/>
                <a:stretch>
                  <a:fillRect l="-388" t="-78750" b="-128750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F1D36224-23FA-CFFC-93F6-DB4BA1A33CB3}"/>
              </a:ext>
            </a:extLst>
          </p:cNvPr>
          <p:cNvSpPr txBox="1"/>
          <p:nvPr/>
        </p:nvSpPr>
        <p:spPr>
          <a:xfrm>
            <a:off x="6471483" y="2904402"/>
            <a:ext cx="39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^</a:t>
            </a:r>
          </a:p>
        </p:txBody>
      </p:sp>
      <p:pic>
        <p:nvPicPr>
          <p:cNvPr id="50" name="Immagine 49">
            <a:extLst>
              <a:ext uri="{FF2B5EF4-FFF2-40B4-BE49-F238E27FC236}">
                <a16:creationId xmlns:a16="http://schemas.microsoft.com/office/drawing/2014/main" id="{9FF3D3B5-C3AB-774C-3E7F-AA5D796B56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913" y="4027745"/>
            <a:ext cx="276225" cy="400050"/>
          </a:xfrm>
          <a:prstGeom prst="rect">
            <a:avLst/>
          </a:prstGeom>
        </p:spPr>
      </p:pic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8057EF0F-AFE2-B41F-A607-5F23E828909A}"/>
              </a:ext>
            </a:extLst>
          </p:cNvPr>
          <p:cNvSpPr txBox="1"/>
          <p:nvPr/>
        </p:nvSpPr>
        <p:spPr>
          <a:xfrm>
            <a:off x="413099" y="3643841"/>
            <a:ext cx="9700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i="1" dirty="0"/>
              <a:t>Dove:</a:t>
            </a:r>
            <a:endParaRPr lang="it-IT" dirty="0"/>
          </a:p>
        </p:txBody>
      </p: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id="{009E4C53-85D6-14C0-FADD-06E22446DE1B}"/>
              </a:ext>
            </a:extLst>
          </p:cNvPr>
          <p:cNvCxnSpPr>
            <a:cxnSpLocks/>
          </p:cNvCxnSpPr>
          <p:nvPr/>
        </p:nvCxnSpPr>
        <p:spPr>
          <a:xfrm>
            <a:off x="1483360" y="4371996"/>
            <a:ext cx="11176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EFE66574-29A1-89ED-E993-F096F1F04AD0}"/>
              </a:ext>
            </a:extLst>
          </p:cNvPr>
          <p:cNvSpPr txBox="1"/>
          <p:nvPr/>
        </p:nvSpPr>
        <p:spPr>
          <a:xfrm>
            <a:off x="2701182" y="4164079"/>
            <a:ext cx="24224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i="1" dirty="0"/>
              <a:t>Valore stimato</a:t>
            </a:r>
            <a:endParaRPr lang="it-IT" dirty="0"/>
          </a:p>
        </p:txBody>
      </p:sp>
      <p:cxnSp>
        <p:nvCxnSpPr>
          <p:cNvPr id="57" name="Connettore 2 56">
            <a:extLst>
              <a:ext uri="{FF2B5EF4-FFF2-40B4-BE49-F238E27FC236}">
                <a16:creationId xmlns:a16="http://schemas.microsoft.com/office/drawing/2014/main" id="{36C7DFF9-3E18-1E25-3701-043BE5E04A99}"/>
              </a:ext>
            </a:extLst>
          </p:cNvPr>
          <p:cNvCxnSpPr>
            <a:cxnSpLocks/>
          </p:cNvCxnSpPr>
          <p:nvPr/>
        </p:nvCxnSpPr>
        <p:spPr>
          <a:xfrm>
            <a:off x="1533579" y="4819689"/>
            <a:ext cx="11176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CF408AC3-3946-F4AA-30A6-0220955AC9E8}"/>
              </a:ext>
            </a:extLst>
          </p:cNvPr>
          <p:cNvSpPr txBox="1"/>
          <p:nvPr/>
        </p:nvSpPr>
        <p:spPr>
          <a:xfrm>
            <a:off x="2751401" y="4611772"/>
            <a:ext cx="24224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i="1" dirty="0"/>
              <a:t>Numero osservazioni</a:t>
            </a:r>
            <a:endParaRPr lang="it-IT" dirty="0"/>
          </a:p>
        </p:txBody>
      </p:sp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E21B16EE-9C65-8795-9150-8078892EBE76}"/>
              </a:ext>
            </a:extLst>
          </p:cNvPr>
          <p:cNvSpPr txBox="1"/>
          <p:nvPr/>
        </p:nvSpPr>
        <p:spPr>
          <a:xfrm>
            <a:off x="983561" y="4597101"/>
            <a:ext cx="24224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i="1" dirty="0"/>
              <a:t>m</a:t>
            </a:r>
            <a:endParaRPr lang="it-IT" dirty="0"/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39AEE79C-F621-A5BA-E470-0CF73C8585CC}"/>
              </a:ext>
            </a:extLst>
          </p:cNvPr>
          <p:cNvSpPr txBox="1"/>
          <p:nvPr/>
        </p:nvSpPr>
        <p:spPr>
          <a:xfrm>
            <a:off x="171922" y="5758910"/>
            <a:ext cx="57335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i="1" dirty="0"/>
              <a:t>* In sample, cioè limitatamente ai valori osservati 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295342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PER I CURIOSI DELLE FUNZIONI EXCEL</a:t>
            </a:r>
            <a:endParaRPr lang="it-IT" b="1" baseline="300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C0BFB41E-9161-94E5-932F-0CD5B6DD938E}"/>
              </a:ext>
            </a:extLst>
          </p:cNvPr>
          <p:cNvSpPr txBox="1"/>
          <p:nvPr/>
        </p:nvSpPr>
        <p:spPr>
          <a:xfrm>
            <a:off x="330200" y="606410"/>
            <a:ext cx="1139081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La funzionalità Previsioni in Excel non fa altro che utilizzare delle funzioni, che possono essere anche usate da sole, con l’opportuna sintassi. Di seguito un veloce cenn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  <a:p>
            <a:endParaRPr lang="it-IT" dirty="0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69F2574C-3B82-D813-C17F-C084D00473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983" y="1714106"/>
            <a:ext cx="4743450" cy="45720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237EAAA2-1BED-BEE2-16DB-9A0B24F11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233" y="3081337"/>
            <a:ext cx="4267200" cy="695325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B8F39A0F-8984-2414-ECCB-0771F68E3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33" y="5243643"/>
            <a:ext cx="4648200" cy="704850"/>
          </a:xfrm>
          <a:prstGeom prst="rect">
            <a:avLst/>
          </a:prstGeom>
        </p:spPr>
      </p:pic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2918D34D-3711-9EB2-CFA1-EAEF25979726}"/>
              </a:ext>
            </a:extLst>
          </p:cNvPr>
          <p:cNvCxnSpPr>
            <a:cxnSpLocks/>
          </p:cNvCxnSpPr>
          <p:nvPr/>
        </p:nvCxnSpPr>
        <p:spPr>
          <a:xfrm>
            <a:off x="5429952" y="5598029"/>
            <a:ext cx="13503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Immagine 30">
            <a:extLst>
              <a:ext uri="{FF2B5EF4-FFF2-40B4-BE49-F238E27FC236}">
                <a16:creationId xmlns:a16="http://schemas.microsoft.com/office/drawing/2014/main" id="{2551E175-F8B2-9985-9095-BD1A451025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8525" y="4720523"/>
            <a:ext cx="3986212" cy="2009799"/>
          </a:xfrm>
          <a:prstGeom prst="rect">
            <a:avLst/>
          </a:prstGeom>
        </p:spPr>
      </p:pic>
      <p:cxnSp>
        <p:nvCxnSpPr>
          <p:cNvPr id="32" name="Connettore 2 31">
            <a:extLst>
              <a:ext uri="{FF2B5EF4-FFF2-40B4-BE49-F238E27FC236}">
                <a16:creationId xmlns:a16="http://schemas.microsoft.com/office/drawing/2014/main" id="{6977DB94-D4C3-A0D6-3532-7D40DA130281}"/>
              </a:ext>
            </a:extLst>
          </p:cNvPr>
          <p:cNvCxnSpPr>
            <a:cxnSpLocks/>
          </p:cNvCxnSpPr>
          <p:nvPr/>
        </p:nvCxnSpPr>
        <p:spPr>
          <a:xfrm>
            <a:off x="5429952" y="3428999"/>
            <a:ext cx="13503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Immagine 39">
            <a:extLst>
              <a:ext uri="{FF2B5EF4-FFF2-40B4-BE49-F238E27FC236}">
                <a16:creationId xmlns:a16="http://schemas.microsoft.com/office/drawing/2014/main" id="{C3D1AA2F-90CB-EFDF-1FAA-D1CE9927C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33980" y="2813729"/>
            <a:ext cx="3879378" cy="1838968"/>
          </a:xfrm>
          <a:prstGeom prst="rect">
            <a:avLst/>
          </a:prstGeom>
        </p:spPr>
      </p:pic>
      <p:pic>
        <p:nvPicPr>
          <p:cNvPr id="48" name="Immagine 47">
            <a:extLst>
              <a:ext uri="{FF2B5EF4-FFF2-40B4-BE49-F238E27FC236}">
                <a16:creationId xmlns:a16="http://schemas.microsoft.com/office/drawing/2014/main" id="{25922078-1BCE-D44B-C6BF-DDE50857C1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3979" y="1067882"/>
            <a:ext cx="3906643" cy="1678021"/>
          </a:xfrm>
          <a:prstGeom prst="rect">
            <a:avLst/>
          </a:prstGeom>
        </p:spPr>
      </p:pic>
      <p:cxnSp>
        <p:nvCxnSpPr>
          <p:cNvPr id="49" name="Connettore 2 48">
            <a:extLst>
              <a:ext uri="{FF2B5EF4-FFF2-40B4-BE49-F238E27FC236}">
                <a16:creationId xmlns:a16="http://schemas.microsoft.com/office/drawing/2014/main" id="{D887B3B9-11DD-3AD2-C8F9-2CC66A4ADBC2}"/>
              </a:ext>
            </a:extLst>
          </p:cNvPr>
          <p:cNvCxnSpPr>
            <a:cxnSpLocks/>
          </p:cNvCxnSpPr>
          <p:nvPr/>
        </p:nvCxnSpPr>
        <p:spPr>
          <a:xfrm>
            <a:off x="5620452" y="1889871"/>
            <a:ext cx="13503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98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6797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1387905" y="147364"/>
            <a:ext cx="9144000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SERIE STORICHE: COSA, PERCHE’ E COME</a:t>
            </a:r>
            <a:endParaRPr lang="it-IT" b="1" baseline="3000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FBDD9357-3650-FB81-DF71-9AC90F1A1509}"/>
              </a:ext>
            </a:extLst>
          </p:cNvPr>
          <p:cNvSpPr txBox="1"/>
          <p:nvPr/>
        </p:nvSpPr>
        <p:spPr>
          <a:xfrm>
            <a:off x="330199" y="577424"/>
            <a:ext cx="11546841" cy="62273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it-IT" sz="1600" dirty="0"/>
              <a:t>Una serie storica è una </a:t>
            </a:r>
            <a:r>
              <a:rPr lang="it-IT" sz="1600" b="1" dirty="0"/>
              <a:t>successione di dati osservati su una variabile </a:t>
            </a:r>
            <a:r>
              <a:rPr lang="it-IT" sz="1600" b="1" i="1" dirty="0"/>
              <a:t>Y</a:t>
            </a:r>
            <a:r>
              <a:rPr lang="it-IT" sz="1600" b="1" dirty="0"/>
              <a:t> nel tempo </a:t>
            </a:r>
            <a:r>
              <a:rPr lang="it-IT" sz="1600" dirty="0"/>
              <a:t>(premi, raccolta netta, </a:t>
            </a:r>
            <a:r>
              <a:rPr lang="it-IT" sz="1600" dirty="0" err="1"/>
              <a:t>combined</a:t>
            </a:r>
            <a:r>
              <a:rPr lang="it-IT" sz="1600" dirty="0"/>
              <a:t> ratio, annuali, mensili, trimestrali….) </a:t>
            </a:r>
          </a:p>
          <a:p>
            <a:pPr marL="285750" indent="-285750" algn="just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it-IT" sz="1600" dirty="0"/>
              <a:t>Posso trovarmi a dover: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Prevedere l’andamento futuro </a:t>
            </a:r>
            <a:r>
              <a:rPr lang="it-IT" sz="1600" dirty="0"/>
              <a:t>della variabile (ho la raccolta netta dei primi 10 mesi dell’anno e voglio stimare gli ultimi due, ho i premi dei primi tre trimestri dell’anno e voglio stimare l’ultimo, …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Stimare dei dati storici mancanti </a:t>
            </a:r>
            <a:r>
              <a:rPr lang="it-IT" sz="1600" dirty="0"/>
              <a:t>conservando le caratteristiche (trend/stagionalità) della serie</a:t>
            </a:r>
          </a:p>
          <a:p>
            <a:pPr marL="285750" indent="-285750" algn="just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it-IT" sz="1600" dirty="0"/>
              <a:t>Sfrutto il fatto che in una serie storica è </a:t>
            </a:r>
            <a:r>
              <a:rPr lang="it-IT" sz="1600" b="1" dirty="0"/>
              <a:t>comune la presenza di dipendenza tra ogni osservazione e le sue passate determinazioni</a:t>
            </a:r>
            <a:r>
              <a:rPr lang="it-IT" sz="1600" dirty="0"/>
              <a:t> ed è questo «</a:t>
            </a:r>
            <a:r>
              <a:rPr lang="it-IT" sz="1600" b="1" dirty="0"/>
              <a:t>modello di comportamento» che cerchiamo di catturare </a:t>
            </a:r>
          </a:p>
          <a:p>
            <a:pPr marL="285750" indent="-285750" algn="just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it-IT" sz="1600" b="1" dirty="0"/>
              <a:t>ATTENZIONE: 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i metodi qui descritti offrono </a:t>
            </a:r>
            <a:r>
              <a:rPr lang="it-IT" sz="1600" b="1" dirty="0"/>
              <a:t>ottimi risultati </a:t>
            </a:r>
            <a:r>
              <a:rPr lang="it-IT" sz="1600" dirty="0"/>
              <a:t>per previsioni di </a:t>
            </a:r>
            <a:r>
              <a:rPr lang="it-IT" sz="1600" b="1" dirty="0"/>
              <a:t>breve periodo </a:t>
            </a:r>
            <a:r>
              <a:rPr lang="it-IT" sz="1600" dirty="0"/>
              <a:t>(non oltre 1 anno) e </a:t>
            </a:r>
            <a:r>
              <a:rPr lang="it-IT" sz="1600" b="1" dirty="0"/>
              <a:t>non riescono mai a cogliere </a:t>
            </a:r>
            <a:r>
              <a:rPr lang="it-IT" sz="1600" dirty="0"/>
              <a:t>brusche</a:t>
            </a:r>
            <a:r>
              <a:rPr lang="it-IT" sz="1600" b="1" dirty="0"/>
              <a:t> inversioni di tendenza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È </a:t>
            </a:r>
            <a:r>
              <a:rPr lang="it-IT" sz="1600" b="1" dirty="0"/>
              <a:t>necessaria una certa numerosità delle osservazioni</a:t>
            </a:r>
            <a:r>
              <a:rPr lang="it-IT" sz="1600" dirty="0"/>
              <a:t>. Pur non esistendo una regola «aurea» meglio lavorare con serie storiche di almeno 4 anni</a:t>
            </a:r>
          </a:p>
          <a:p>
            <a:pPr marL="285750" indent="-285750" algn="just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it-IT" sz="1600" dirty="0"/>
              <a:t>Più in dettaglio la serie storica può essere </a:t>
            </a:r>
            <a:r>
              <a:rPr lang="it-IT" sz="1600" b="1" dirty="0"/>
              <a:t>scomposta nelle seguenti componenti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i="1" dirty="0"/>
              <a:t>Trend</a:t>
            </a:r>
            <a:r>
              <a:rPr lang="it-IT" sz="1600" dirty="0"/>
              <a:t>: movimento tendenziale di fondo dovuto all’evoluzione di lungo periodo del fenomeno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Ciclo</a:t>
            </a:r>
            <a:r>
              <a:rPr lang="it-IT" sz="1600" dirty="0"/>
              <a:t>: oscillazione congiunturale di carattere ricorrente, spesso dovuto all’oscillare di un sistema economico attorno alle condizioni di equilibrio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Stagionalità</a:t>
            </a:r>
            <a:r>
              <a:rPr lang="it-IT" sz="1600" dirty="0"/>
              <a:t>: regolarità empirica legata ai periodi dell’anno e dovuta a fattori climatici (alternanza delle stagioni) oppure organizzativi (ferie, festività)</a:t>
            </a:r>
          </a:p>
          <a:p>
            <a:pPr marL="742950" lvl="1" indent="-285750" algn="just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Accidentalità</a:t>
            </a:r>
            <a:r>
              <a:rPr lang="it-IT" sz="1600" dirty="0"/>
              <a:t>: componente residuale rispetto alle cause strutturali 1)-3), in genere relativa a molte influenze di piccola entità o comunque non chiaramente identificabili né suscettibili di modellazione esplicita (v. errori del modello </a:t>
            </a:r>
            <a:r>
              <a:rPr lang="it-IT" sz="1600" i="1" dirty="0"/>
              <a:t>OLS</a:t>
            </a:r>
            <a:r>
              <a:rPr lang="it-IT" sz="1600" dirty="0"/>
              <a:t>)</a:t>
            </a:r>
          </a:p>
          <a:p>
            <a:pPr algn="just">
              <a:spcBef>
                <a:spcPts val="600"/>
              </a:spcBef>
              <a:spcAft>
                <a:spcPts val="200"/>
              </a:spcAft>
            </a:pPr>
            <a:r>
              <a:rPr lang="it-IT" sz="1100" i="1" dirty="0"/>
              <a:t>PS: siccome il ciclo economico/finanziario è molto difficile da identificare se non in serie lunghissime in </a:t>
            </a:r>
            <a:r>
              <a:rPr lang="it-IT" sz="1100" b="1" i="1" dirty="0"/>
              <a:t>genere si uniscono Trend e Ciclo. </a:t>
            </a:r>
            <a:r>
              <a:rPr lang="it-IT" sz="1100" i="1" dirty="0"/>
              <a:t>Solo la fase del ciclo assicurativo (dal min al max) è stimata in circa 7 anni, dunque una stima statistica  di questa componente necessità di almeno una trentina d’anni a prescindere dalla frequenza di rilevazione della serie stessa (annuale, mensile, eccetera</a:t>
            </a:r>
            <a:r>
              <a:rPr lang="it-IT" sz="1400" i="1" dirty="0"/>
              <a:t>)  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5CB63CF-4565-8495-CFB8-899D19998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3021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6797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1387905" y="147364"/>
            <a:ext cx="9144000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A FUNZIONE PREVISIONE IN EXCEL</a:t>
            </a:r>
            <a:endParaRPr lang="it-IT" b="1" baseline="3000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FBDD9357-3650-FB81-DF71-9AC90F1A1509}"/>
              </a:ext>
            </a:extLst>
          </p:cNvPr>
          <p:cNvSpPr txBox="1"/>
          <p:nvPr/>
        </p:nvSpPr>
        <p:spPr>
          <a:xfrm>
            <a:off x="330199" y="644099"/>
            <a:ext cx="115468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it-IT" sz="1600" dirty="0"/>
              <a:t>Vediamo un esempio concreto: ho i premi trimestrali del ramo incendi a livello di mercato fino a set-24. Voglio stimare l’ultimo trimestre del 2024 per prevedere l’andamento su base annuale. Prendo il ramo incendio</a:t>
            </a:r>
            <a:endParaRPr lang="it-IT" sz="1400" i="1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F8177713-76B8-89AC-9142-637FC40988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6577" y="1584899"/>
            <a:ext cx="5118298" cy="4300131"/>
          </a:xfrm>
          <a:prstGeom prst="rect">
            <a:avLst/>
          </a:prstGeom>
        </p:spPr>
      </p:pic>
      <p:cxnSp>
        <p:nvCxnSpPr>
          <p:cNvPr id="5" name="Connettore 2 4">
            <a:extLst>
              <a:ext uri="{FF2B5EF4-FFF2-40B4-BE49-F238E27FC236}">
                <a16:creationId xmlns:a16="http://schemas.microsoft.com/office/drawing/2014/main" id="{F896E86B-9812-762D-5C7A-8F2A9EE6E897}"/>
              </a:ext>
            </a:extLst>
          </p:cNvPr>
          <p:cNvCxnSpPr>
            <a:cxnSpLocks/>
          </p:cNvCxnSpPr>
          <p:nvPr/>
        </p:nvCxnSpPr>
        <p:spPr>
          <a:xfrm>
            <a:off x="2686050" y="3267075"/>
            <a:ext cx="1085850" cy="5048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7100562-E430-2041-D899-0F0CA50D3AE0}"/>
              </a:ext>
            </a:extLst>
          </p:cNvPr>
          <p:cNvSpPr txBox="1"/>
          <p:nvPr/>
        </p:nvSpPr>
        <p:spPr>
          <a:xfrm>
            <a:off x="523875" y="2285999"/>
            <a:ext cx="2076449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Deve essere un numero in </a:t>
            </a:r>
            <a:r>
              <a:rPr lang="it-IT" b="1" u="sng" dirty="0"/>
              <a:t>formato data</a:t>
            </a:r>
            <a:r>
              <a:rPr lang="it-IT" u="sng" dirty="0"/>
              <a:t> </a:t>
            </a:r>
            <a:r>
              <a:rPr lang="it-IT" dirty="0"/>
              <a:t>con </a:t>
            </a:r>
            <a:r>
              <a:rPr lang="it-IT" b="1" u="sng" dirty="0"/>
              <a:t>periodicità costante </a:t>
            </a:r>
            <a:r>
              <a:rPr lang="it-IT" dirty="0"/>
              <a:t>(mensile, trimestrale, ecc.)</a:t>
            </a:r>
          </a:p>
        </p:txBody>
      </p: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527EF2CE-CE56-08DB-AA92-09F3E25BD0AA}"/>
              </a:ext>
            </a:extLst>
          </p:cNvPr>
          <p:cNvCxnSpPr>
            <a:cxnSpLocks/>
          </p:cNvCxnSpPr>
          <p:nvPr/>
        </p:nvCxnSpPr>
        <p:spPr>
          <a:xfrm flipH="1" flipV="1">
            <a:off x="5514975" y="5372100"/>
            <a:ext cx="3228975" cy="5129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684627E-4B59-753D-C1CE-2F0D41D666E3}"/>
              </a:ext>
            </a:extLst>
          </p:cNvPr>
          <p:cNvSpPr txBox="1"/>
          <p:nvPr/>
        </p:nvSpPr>
        <p:spPr>
          <a:xfrm>
            <a:off x="8743950" y="5381624"/>
            <a:ext cx="2076449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Valore da stimare (ma potrebbero essere più periodi)</a:t>
            </a:r>
          </a:p>
        </p:txBody>
      </p:sp>
      <p:sp>
        <p:nvSpPr>
          <p:cNvPr id="17" name="Segnaposto numero diapositiva 16">
            <a:extLst>
              <a:ext uri="{FF2B5EF4-FFF2-40B4-BE49-F238E27FC236}">
                <a16:creationId xmlns:a16="http://schemas.microsoft.com/office/drawing/2014/main" id="{5EDC8D6F-B22F-6440-ABBE-6BBF6A41F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688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D6529AB-C26C-ACF4-224B-B149523723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326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6" imgH="346" progId="TCLayout.ActiveDocument.1">
                  <p:embed/>
                </p:oleObj>
              </mc:Choice>
              <mc:Fallback>
                <p:oleObj name="Diapositiva think-cell" r:id="rId3" imgW="346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6797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1387905" y="147364"/>
            <a:ext cx="9144000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A FUNZIONE PREVISIONE IN EXCEL</a:t>
            </a:r>
            <a:endParaRPr lang="it-IT" b="1" baseline="30000" dirty="0"/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6C2D6EAE-40C6-7194-35D7-B3B825E828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1224" y="825290"/>
            <a:ext cx="8743569" cy="5464731"/>
          </a:xfrm>
          <a:prstGeom prst="rect">
            <a:avLst/>
          </a:prstGeom>
        </p:spPr>
      </p:pic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72579B47-8945-CBA2-1EAE-FF48AA33340A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2181224" y="2315437"/>
            <a:ext cx="819151" cy="6563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751C754-80F7-1E04-70AB-628627174852}"/>
              </a:ext>
            </a:extLst>
          </p:cNvPr>
          <p:cNvSpPr txBox="1"/>
          <p:nvPr/>
        </p:nvSpPr>
        <p:spPr>
          <a:xfrm>
            <a:off x="104775" y="1438274"/>
            <a:ext cx="2076449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Seleziono la colonna «Data» ed i valori storici della serie da prevedere (fino all’ultimo dato disponibile)</a:t>
            </a:r>
          </a:p>
        </p:txBody>
      </p: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47D799CB-00D6-ABCC-0333-A1A9773C41C0}"/>
              </a:ext>
            </a:extLst>
          </p:cNvPr>
          <p:cNvCxnSpPr>
            <a:cxnSpLocks/>
          </p:cNvCxnSpPr>
          <p:nvPr/>
        </p:nvCxnSpPr>
        <p:spPr>
          <a:xfrm flipH="1" flipV="1">
            <a:off x="8543925" y="1514475"/>
            <a:ext cx="1581150" cy="20478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808C9FE9-855F-B838-921C-EA0A67479D02}"/>
              </a:ext>
            </a:extLst>
          </p:cNvPr>
          <p:cNvSpPr txBox="1"/>
          <p:nvPr/>
        </p:nvSpPr>
        <p:spPr>
          <a:xfrm>
            <a:off x="8648700" y="3557655"/>
            <a:ext cx="2076449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Poi dal menu seleziono «Dati» e «Foglio di previsione»</a:t>
            </a:r>
          </a:p>
        </p:txBody>
      </p:sp>
      <p:sp>
        <p:nvSpPr>
          <p:cNvPr id="33" name="Segnaposto numero diapositiva 32">
            <a:extLst>
              <a:ext uri="{FF2B5EF4-FFF2-40B4-BE49-F238E27FC236}">
                <a16:creationId xmlns:a16="http://schemas.microsoft.com/office/drawing/2014/main" id="{119F6F14-FC9E-CB9B-934E-02A1738B41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65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D6529AB-C26C-ACF4-224B-B149523723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703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6" imgH="346" progId="TCLayout.ActiveDocument.1">
                  <p:embed/>
                </p:oleObj>
              </mc:Choice>
              <mc:Fallback>
                <p:oleObj name="Diapositiva think-cell" r:id="rId3" imgW="346" imgH="34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529AB-C26C-ACF4-224B-B149523723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6797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1387905" y="147364"/>
            <a:ext cx="9144000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A FUNZIONE PREVISIONE IN EXCEL</a:t>
            </a:r>
            <a:endParaRPr lang="it-IT" b="1" baseline="30000" dirty="0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751C754-80F7-1E04-70AB-628627174852}"/>
              </a:ext>
            </a:extLst>
          </p:cNvPr>
          <p:cNvSpPr txBox="1"/>
          <p:nvPr/>
        </p:nvSpPr>
        <p:spPr>
          <a:xfrm>
            <a:off x="104775" y="1352560"/>
            <a:ext cx="2076449" cy="258532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Mi appare graficamente la serie: in blue i valori storici sino a set-24, in rosso le stime. In arancione l’intervallo di confidenza della stime al 95%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0290325-4972-BE95-CDB5-3EF6C2A70C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7899" y="807901"/>
            <a:ext cx="9144000" cy="5715000"/>
          </a:xfrm>
          <a:prstGeom prst="rect">
            <a:avLst/>
          </a:prstGeom>
        </p:spPr>
      </p:pic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72579B47-8945-CBA2-1EAE-FF48AA33340A}"/>
              </a:ext>
            </a:extLst>
          </p:cNvPr>
          <p:cNvCxnSpPr>
            <a:cxnSpLocks/>
          </p:cNvCxnSpPr>
          <p:nvPr/>
        </p:nvCxnSpPr>
        <p:spPr>
          <a:xfrm>
            <a:off x="2181224" y="2645222"/>
            <a:ext cx="4705351" cy="5473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EBC232AF-05E8-35B7-EF29-CD94E77B4E07}"/>
              </a:ext>
            </a:extLst>
          </p:cNvPr>
          <p:cNvSpPr txBox="1"/>
          <p:nvPr/>
        </p:nvSpPr>
        <p:spPr>
          <a:xfrm>
            <a:off x="171450" y="4305111"/>
            <a:ext cx="2076449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In questa fase posso fissare la data di fine previsione</a:t>
            </a:r>
          </a:p>
        </p:txBody>
      </p:sp>
      <p:cxnSp>
        <p:nvCxnSpPr>
          <p:cNvPr id="8" name="Connettore 2 7">
            <a:extLst>
              <a:ext uri="{FF2B5EF4-FFF2-40B4-BE49-F238E27FC236}">
                <a16:creationId xmlns:a16="http://schemas.microsoft.com/office/drawing/2014/main" id="{171915DE-4E81-3493-BA0C-9FE832922ECB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247899" y="4905276"/>
            <a:ext cx="4638676" cy="1246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6C4DD5B-975A-977D-B194-176544C8E13E}"/>
              </a:ext>
            </a:extLst>
          </p:cNvPr>
          <p:cNvSpPr txBox="1"/>
          <p:nvPr/>
        </p:nvSpPr>
        <p:spPr>
          <a:xfrm>
            <a:off x="104774" y="5551141"/>
            <a:ext cx="2076449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Fisso come fine previsione dic-24 e seleziono il tasto «Crea»</a:t>
            </a:r>
          </a:p>
        </p:txBody>
      </p: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6CE444B2-4C95-30A0-177C-ACEDB0F8CCF8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2181223" y="5662746"/>
            <a:ext cx="7162802" cy="4885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Segnaposto numero diapositiva 16">
            <a:extLst>
              <a:ext uri="{FF2B5EF4-FFF2-40B4-BE49-F238E27FC236}">
                <a16:creationId xmlns:a16="http://schemas.microsoft.com/office/drawing/2014/main" id="{8595340D-EA43-D9C6-B1CD-19F174B908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537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D6529AB-C26C-ACF4-224B-B149523723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78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6" imgH="346" progId="TCLayout.ActiveDocument.1">
                  <p:embed/>
                </p:oleObj>
              </mc:Choice>
              <mc:Fallback>
                <p:oleObj name="Diapositiva think-cell" r:id="rId3" imgW="346" imgH="34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529AB-C26C-ACF4-224B-B149523723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6797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1387905" y="147364"/>
            <a:ext cx="9144000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A FUNZIONE PREVISIONE IN EXCEL</a:t>
            </a:r>
            <a:endParaRPr lang="it-IT" b="1" baseline="30000" dirty="0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751C754-80F7-1E04-70AB-628627174852}"/>
              </a:ext>
            </a:extLst>
          </p:cNvPr>
          <p:cNvSpPr txBox="1"/>
          <p:nvPr/>
        </p:nvSpPr>
        <p:spPr>
          <a:xfrm>
            <a:off x="104775" y="1352560"/>
            <a:ext cx="2076449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In un nuovo foglio, Excel mi fa vedere i valori storici della serie e, in colonne differenti, la stima a dic-24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EBC232AF-05E8-35B7-EF29-CD94E77B4E07}"/>
              </a:ext>
            </a:extLst>
          </p:cNvPr>
          <p:cNvSpPr txBox="1"/>
          <p:nvPr/>
        </p:nvSpPr>
        <p:spPr>
          <a:xfrm>
            <a:off x="104775" y="3663541"/>
            <a:ext cx="2076449" cy="28623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Cosa mi dice l’intervallo di confidenza? Al 95% la previsione di dic-24 sarà compresa tra il limite di confidenza inferiore e quello superiore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F9975169-FD63-C9CD-DA4C-EAF0823F1E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923" y="679585"/>
            <a:ext cx="9265918" cy="5791199"/>
          </a:xfrm>
          <a:prstGeom prst="rect">
            <a:avLst/>
          </a:prstGeom>
        </p:spPr>
      </p:pic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72579B47-8945-CBA2-1EAE-FF48AA33340A}"/>
              </a:ext>
            </a:extLst>
          </p:cNvPr>
          <p:cNvCxnSpPr>
            <a:cxnSpLocks/>
          </p:cNvCxnSpPr>
          <p:nvPr/>
        </p:nvCxnSpPr>
        <p:spPr>
          <a:xfrm>
            <a:off x="2181224" y="2645222"/>
            <a:ext cx="2162176" cy="65995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2 7">
            <a:extLst>
              <a:ext uri="{FF2B5EF4-FFF2-40B4-BE49-F238E27FC236}">
                <a16:creationId xmlns:a16="http://schemas.microsoft.com/office/drawing/2014/main" id="{171915DE-4E81-3493-BA0C-9FE832922ECB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2181224" y="3465252"/>
            <a:ext cx="4152901" cy="16294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FB586EC-2234-A297-70CE-635981828411}"/>
              </a:ext>
            </a:extLst>
          </p:cNvPr>
          <p:cNvSpPr txBox="1"/>
          <p:nvPr/>
        </p:nvSpPr>
        <p:spPr>
          <a:xfrm>
            <a:off x="8632852" y="1997839"/>
            <a:ext cx="2825723" cy="31393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L’ampiezza dell’intervallo di previsione dipende da quanto «funziona» il modello stimato (minore è l’errore medio, più «stretto» è l’intervallo) e da quanto sono i periodi da stimare (ogni nuovo periodo da stimare, per esempio mar-25 introduce un’ulteriore variabilità)</a:t>
            </a:r>
          </a:p>
        </p:txBody>
      </p: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05DC4463-51B8-C6DD-153D-D2256878E1C1}"/>
              </a:ext>
            </a:extLst>
          </p:cNvPr>
          <p:cNvCxnSpPr>
            <a:cxnSpLocks/>
          </p:cNvCxnSpPr>
          <p:nvPr/>
        </p:nvCxnSpPr>
        <p:spPr>
          <a:xfrm flipV="1">
            <a:off x="6470676" y="2957699"/>
            <a:ext cx="1939898" cy="3474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Segnaposto numero diapositiva 16">
            <a:extLst>
              <a:ext uri="{FF2B5EF4-FFF2-40B4-BE49-F238E27FC236}">
                <a16:creationId xmlns:a16="http://schemas.microsoft.com/office/drawing/2014/main" id="{D77823EA-F040-4BAE-B914-1EBF19305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1E48E-DAA0-470A-BBA8-637971DE5CD5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3451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7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COSA C’E’ DIETRO LA FUNZIONE DI PREVISIONE DI EXCEL</a:t>
            </a:r>
            <a:endParaRPr lang="it-IT" b="1" baseline="30000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24863A37-EC5F-78FE-71FE-72E996ADEF0A}"/>
              </a:ext>
            </a:extLst>
          </p:cNvPr>
          <p:cNvSpPr txBox="1"/>
          <p:nvPr/>
        </p:nvSpPr>
        <p:spPr>
          <a:xfrm>
            <a:off x="330200" y="680018"/>
            <a:ext cx="11390817" cy="5909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Nella previsione Excel sfrutta un «algoritmo» basato sul modello di livellamento esponenziale (una variante del modello di Holt e Winter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L’idea di base del livellamento esponenziale (che funziona per serie stazionarie in media) è che il valore previsto della serie (nel ns esempio dic-24) sia una media pesata delle osservazioni passate</a:t>
            </a:r>
            <a:r>
              <a:rPr lang="it-IT" b="1" dirty="0"/>
              <a:t> assegnando ad ognuna di esse un peso </a:t>
            </a:r>
            <a:r>
              <a:rPr lang="it-IT" b="1" i="1" dirty="0" err="1"/>
              <a:t>w</a:t>
            </a:r>
            <a:r>
              <a:rPr lang="it-IT" b="1" i="1" baseline="-25000" dirty="0" err="1"/>
              <a:t>j</a:t>
            </a:r>
            <a:r>
              <a:rPr lang="it-IT" b="1" baseline="-25000" dirty="0"/>
              <a:t> </a:t>
            </a:r>
            <a:r>
              <a:rPr lang="it-IT" dirty="0"/>
              <a:t>la cui somma è pari a </a:t>
            </a:r>
            <a:r>
              <a:rPr lang="it-IT" i="1" dirty="0"/>
              <a:t>1</a:t>
            </a:r>
            <a:r>
              <a:rPr lang="it-IT" dirty="0"/>
              <a:t>, che decresce esponenzialmente a zero man mano che il dato diventa «più vecchio». Peso dunque di più i dati recenti, rispetto a quelli più lontani nel temp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Nel modello a livellamento esponenziale, </a:t>
            </a:r>
            <a:r>
              <a:rPr lang="it-IT" b="1" dirty="0"/>
              <a:t>il peso è definito </a:t>
            </a:r>
            <a:r>
              <a:rPr lang="it-IT" dirty="0"/>
              <a:t>come segue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  <a:p>
            <a:br>
              <a:rPr lang="it-IT" dirty="0"/>
            </a:br>
            <a:endParaRPr lang="it-IT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b="1" dirty="0"/>
              <a:t>Maggiore è </a:t>
            </a:r>
            <a:r>
              <a:rPr lang="el-GR" b="1" i="1" dirty="0"/>
              <a:t>α</a:t>
            </a:r>
            <a:r>
              <a:rPr lang="it-IT" dirty="0"/>
              <a:t>, </a:t>
            </a:r>
            <a:r>
              <a:rPr lang="it-IT" b="1" dirty="0"/>
              <a:t>maggiore è il peso </a:t>
            </a:r>
            <a:r>
              <a:rPr lang="it-IT" dirty="0"/>
              <a:t>che diamo alle </a:t>
            </a:r>
            <a:r>
              <a:rPr lang="it-IT" b="1" dirty="0"/>
              <a:t>osservazioni più recent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Il modello Holt e Winter sfrutta </a:t>
            </a:r>
            <a:r>
              <a:rPr lang="it-IT" b="1" dirty="0"/>
              <a:t>l’</a:t>
            </a:r>
            <a:r>
              <a:rPr lang="it-IT" b="1" i="1" dirty="0" err="1"/>
              <a:t>exponential</a:t>
            </a:r>
            <a:r>
              <a:rPr lang="it-IT" b="1" i="1" dirty="0"/>
              <a:t> </a:t>
            </a:r>
            <a:r>
              <a:rPr lang="it-IT" b="1" i="1" dirty="0" err="1"/>
              <a:t>smoothing</a:t>
            </a:r>
            <a:r>
              <a:rPr lang="it-IT" b="1" i="1" dirty="0"/>
              <a:t> </a:t>
            </a:r>
            <a:r>
              <a:rPr lang="it-IT" dirty="0"/>
              <a:t>per stimare le componenti deterministiche della serie, isolando trend/ciclo e stagionalità, se presenti. Dunque </a:t>
            </a:r>
            <a:r>
              <a:rPr lang="it-IT" b="1" dirty="0"/>
              <a:t>verrà stimato</a:t>
            </a:r>
            <a:r>
              <a:rPr lang="it-IT" dirty="0"/>
              <a:t>, oltre a </a:t>
            </a:r>
            <a:r>
              <a:rPr lang="el-GR" b="1" i="1" dirty="0"/>
              <a:t>α</a:t>
            </a:r>
            <a:r>
              <a:rPr lang="el-GR" b="1" dirty="0"/>
              <a:t> </a:t>
            </a:r>
            <a:r>
              <a:rPr lang="it-IT" b="1" dirty="0"/>
              <a:t>anche un </a:t>
            </a:r>
            <a:r>
              <a:rPr lang="el-GR" b="1" i="1" dirty="0"/>
              <a:t>β</a:t>
            </a:r>
            <a:r>
              <a:rPr lang="it-IT" b="1" dirty="0"/>
              <a:t> (trend) ed un </a:t>
            </a:r>
            <a:r>
              <a:rPr lang="el-GR" b="1" i="1" dirty="0"/>
              <a:t>γ</a:t>
            </a:r>
            <a:r>
              <a:rPr lang="it-IT" b="1" dirty="0"/>
              <a:t> (stagionalità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Come vengono individuati da </a:t>
            </a:r>
            <a:r>
              <a:rPr lang="it-IT" dirty="0" err="1"/>
              <a:t>excel</a:t>
            </a:r>
            <a:r>
              <a:rPr lang="it-IT" dirty="0"/>
              <a:t> i parametri </a:t>
            </a:r>
            <a:r>
              <a:rPr lang="el-GR" i="1" dirty="0"/>
              <a:t>α</a:t>
            </a:r>
            <a:r>
              <a:rPr lang="it-IT" dirty="0"/>
              <a:t>, </a:t>
            </a:r>
            <a:r>
              <a:rPr lang="el-GR" i="1" dirty="0"/>
              <a:t>β</a:t>
            </a:r>
            <a:r>
              <a:rPr lang="it-IT" dirty="0"/>
              <a:t> e </a:t>
            </a:r>
            <a:r>
              <a:rPr lang="el-GR" i="1" dirty="0"/>
              <a:t>γ</a:t>
            </a:r>
            <a:r>
              <a:rPr lang="it-IT" i="1" dirty="0"/>
              <a:t>? </a:t>
            </a:r>
            <a:r>
              <a:rPr lang="it-IT" b="1" dirty="0"/>
              <a:t>In modo da minimizzare l’adattamento del  modello ai valori storic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it-IT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83683CF-C9E7-ED45-41FE-DFE503B8FA04}"/>
              </a:ext>
            </a:extLst>
          </p:cNvPr>
          <p:cNvSpPr txBox="1"/>
          <p:nvPr/>
        </p:nvSpPr>
        <p:spPr>
          <a:xfrm>
            <a:off x="4232274" y="3429000"/>
            <a:ext cx="40542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 err="1"/>
              <a:t>w</a:t>
            </a:r>
            <a:r>
              <a:rPr lang="it-IT" baseline="-25000" dirty="0" err="1"/>
              <a:t>j</a:t>
            </a:r>
            <a:r>
              <a:rPr lang="it-IT" baseline="-25000" dirty="0"/>
              <a:t> </a:t>
            </a:r>
            <a:r>
              <a:rPr lang="it-IT" dirty="0"/>
              <a:t> = </a:t>
            </a:r>
            <a:r>
              <a:rPr lang="el-GR" dirty="0"/>
              <a:t>α </a:t>
            </a:r>
            <a:r>
              <a:rPr lang="it-IT" dirty="0"/>
              <a:t>(1- </a:t>
            </a:r>
            <a:r>
              <a:rPr lang="el-GR" dirty="0"/>
              <a:t>α</a:t>
            </a:r>
            <a:r>
              <a:rPr lang="it-IT" dirty="0"/>
              <a:t>)</a:t>
            </a:r>
            <a:r>
              <a:rPr lang="it-IT" baseline="30000" dirty="0"/>
              <a:t>j </a:t>
            </a:r>
            <a:r>
              <a:rPr lang="it-IT" dirty="0"/>
              <a:t>    j=0, …, n  e </a:t>
            </a:r>
            <a:r>
              <a:rPr lang="it-IT" b="1" dirty="0"/>
              <a:t>0 ≤ </a:t>
            </a:r>
            <a:r>
              <a:rPr lang="el-GR" b="1" dirty="0"/>
              <a:t>α </a:t>
            </a:r>
            <a:r>
              <a:rPr lang="it-IT" b="1" dirty="0"/>
              <a:t>≤ 1 </a:t>
            </a:r>
          </a:p>
        </p:txBody>
      </p:sp>
    </p:spTree>
    <p:extLst>
      <p:ext uri="{BB962C8B-B14F-4D97-AF65-F5344CB8AC3E}">
        <p14:creationId xmlns:p14="http://schemas.microsoft.com/office/powerpoint/2010/main" val="150098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8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E OPZIONI DELLA FUNZIONE DI PREVISIONE IN EXCEL</a:t>
            </a:r>
            <a:endParaRPr lang="it-IT" b="1" baseline="300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509EEDE-4E0B-09AB-D0DA-EF74489ED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6791" y="668867"/>
            <a:ext cx="8505825" cy="531614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95521B73-EC0D-B167-93AD-18D346C7707B}"/>
              </a:ext>
            </a:extLst>
          </p:cNvPr>
          <p:cNvSpPr txBox="1"/>
          <p:nvPr/>
        </p:nvSpPr>
        <p:spPr>
          <a:xfrm>
            <a:off x="123484" y="482436"/>
            <a:ext cx="2076449" cy="20313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Tornando all’esempio di prima, la funzione previsioni mi consente di inserire alcune opzioni</a:t>
            </a:r>
          </a:p>
        </p:txBody>
      </p: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1F88B330-2F77-D18D-FD55-F76943F793A3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199933" y="1519355"/>
            <a:ext cx="4124667" cy="2199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77C60E9-CF0B-7940-7529-E5870CBBC5A7}"/>
              </a:ext>
            </a:extLst>
          </p:cNvPr>
          <p:cNvSpPr txBox="1"/>
          <p:nvPr/>
        </p:nvSpPr>
        <p:spPr>
          <a:xfrm>
            <a:off x="120055" y="2497580"/>
            <a:ext cx="2076449" cy="369331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L’inizio della previsione. Se inserisco per esempio mar-23, mi farà vedere le stime per i periodi passati. Un modo per visualizzare la precisione del metodo. Attenzione però alla lunghezza della serie</a:t>
            </a: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68008EEB-721E-9F14-3692-A215AB7604B0}"/>
              </a:ext>
            </a:extLst>
          </p:cNvPr>
          <p:cNvCxnSpPr>
            <a:cxnSpLocks/>
          </p:cNvCxnSpPr>
          <p:nvPr/>
        </p:nvCxnSpPr>
        <p:spPr>
          <a:xfrm>
            <a:off x="2199933" y="4171407"/>
            <a:ext cx="36034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51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DFC589-BBFD-B4DD-1AF7-EE5B7B32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0305" y="6216333"/>
            <a:ext cx="2743200" cy="365125"/>
          </a:xfrm>
        </p:spPr>
        <p:txBody>
          <a:bodyPr/>
          <a:lstStyle/>
          <a:p>
            <a:fld id="{5A31E48E-DAA0-470A-BBA8-637971DE5CD5}" type="slidenum">
              <a:rPr lang="it-IT" smtClean="0"/>
              <a:t>9</a:t>
            </a:fld>
            <a:endParaRPr lang="it-IT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95A74B-FDD5-308B-93BD-EF0AB055451A}"/>
              </a:ext>
            </a:extLst>
          </p:cNvPr>
          <p:cNvCxnSpPr>
            <a:cxnSpLocks/>
          </p:cNvCxnSpPr>
          <p:nvPr/>
        </p:nvCxnSpPr>
        <p:spPr>
          <a:xfrm>
            <a:off x="9144" y="51311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ottotitolo 2">
            <a:extLst>
              <a:ext uri="{FF2B5EF4-FFF2-40B4-BE49-F238E27FC236}">
                <a16:creationId xmlns:a16="http://schemas.microsoft.com/office/drawing/2014/main" id="{41F7D4E9-A1BA-9658-81C5-4C0BFA82B1D0}"/>
              </a:ext>
            </a:extLst>
          </p:cNvPr>
          <p:cNvSpPr txBox="1">
            <a:spLocks/>
          </p:cNvSpPr>
          <p:nvPr/>
        </p:nvSpPr>
        <p:spPr>
          <a:xfrm>
            <a:off x="894168" y="123046"/>
            <a:ext cx="9818448" cy="532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dirty="0"/>
              <a:t>LE OPZIONI DELLA FUNZIONE DI PREVISIONE IN EXCEL</a:t>
            </a:r>
            <a:endParaRPr lang="it-IT" b="1" baseline="30000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509EEDE-4E0B-09AB-D0DA-EF74489ED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6791" y="668867"/>
            <a:ext cx="8505825" cy="531614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95521B73-EC0D-B167-93AD-18D346C7707B}"/>
              </a:ext>
            </a:extLst>
          </p:cNvPr>
          <p:cNvSpPr txBox="1"/>
          <p:nvPr/>
        </p:nvSpPr>
        <p:spPr>
          <a:xfrm>
            <a:off x="130335" y="2775561"/>
            <a:ext cx="2076449" cy="206210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dirty="0"/>
              <a:t>Di default la stagionalità è rilevata automaticamente, ma si può anche inserire manualmente 12=mensile, 4=trimestrale, ecc.)</a:t>
            </a:r>
          </a:p>
        </p:txBody>
      </p: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1F88B330-2F77-D18D-FD55-F76943F793A3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206784" y="1732288"/>
            <a:ext cx="3596608" cy="25873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77C60E9-CF0B-7940-7529-E5870CBBC5A7}"/>
              </a:ext>
            </a:extLst>
          </p:cNvPr>
          <p:cNvSpPr txBox="1"/>
          <p:nvPr/>
        </p:nvSpPr>
        <p:spPr>
          <a:xfrm>
            <a:off x="130335" y="4921793"/>
            <a:ext cx="2076449" cy="8309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dirty="0"/>
              <a:t>Calcola le statistiche descrittive del modello</a:t>
            </a: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68008EEB-721E-9F14-3692-A215AB7604B0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2206784" y="5065539"/>
            <a:ext cx="3701378" cy="27175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80A8653-E28A-877A-2298-5AFB7EF2C48E}"/>
              </a:ext>
            </a:extLst>
          </p:cNvPr>
          <p:cNvSpPr txBox="1"/>
          <p:nvPr/>
        </p:nvSpPr>
        <p:spPr>
          <a:xfrm>
            <a:off x="130335" y="578126"/>
            <a:ext cx="2076449" cy="23083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dirty="0"/>
              <a:t>Mi consente di definire il livello di confidenza dell’intervallo di stima. Maggiore è l’errore accettabile (la significatività), minore è l’ampiezza dell’intervallo,</a:t>
            </a:r>
          </a:p>
        </p:txBody>
      </p: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8AF3A34B-F021-3611-A75D-5299095B8A29}"/>
              </a:ext>
            </a:extLst>
          </p:cNvPr>
          <p:cNvCxnSpPr>
            <a:cxnSpLocks/>
          </p:cNvCxnSpPr>
          <p:nvPr/>
        </p:nvCxnSpPr>
        <p:spPr>
          <a:xfrm>
            <a:off x="2206785" y="3935362"/>
            <a:ext cx="3596607" cy="7685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159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014</TotalTime>
  <Words>1343</Words>
  <Application>Microsoft Office PowerPoint</Application>
  <PresentationFormat>Widescreen</PresentationFormat>
  <Paragraphs>100</Paragraphs>
  <Slides>15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2" baseType="lpstr">
      <vt:lpstr>Aptos</vt:lpstr>
      <vt:lpstr>Aptos Display</vt:lpstr>
      <vt:lpstr>Arial</vt:lpstr>
      <vt:lpstr>Cambria Math</vt:lpstr>
      <vt:lpstr>Wingdings</vt:lpstr>
      <vt:lpstr>Tema di Office</vt:lpstr>
      <vt:lpstr>Diapositiva think-cell</vt:lpstr>
      <vt:lpstr>Previsione delle serie storiche in Exce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ca per l’impresa</dc:title>
  <dc:creator>CANNATA VITTORIA [FA0300042]</dc:creator>
  <cp:lastModifiedBy>CANNATA ROBERTO</cp:lastModifiedBy>
  <cp:revision>444</cp:revision>
  <dcterms:created xsi:type="dcterms:W3CDTF">2024-08-05T10:15:54Z</dcterms:created>
  <dcterms:modified xsi:type="dcterms:W3CDTF">2025-11-23T09:2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bf4bb52-9e9d-4296-940a-59002820a53c_Enabled">
    <vt:lpwstr>true</vt:lpwstr>
  </property>
  <property fmtid="{D5CDD505-2E9C-101B-9397-08002B2CF9AE}" pid="3" name="MSIP_Label_5bf4bb52-9e9d-4296-940a-59002820a53c_SetDate">
    <vt:lpwstr>2024-09-11T08:20:53Z</vt:lpwstr>
  </property>
  <property fmtid="{D5CDD505-2E9C-101B-9397-08002B2CF9AE}" pid="4" name="MSIP_Label_5bf4bb52-9e9d-4296-940a-59002820a53c_Method">
    <vt:lpwstr>Standard</vt:lpwstr>
  </property>
  <property fmtid="{D5CDD505-2E9C-101B-9397-08002B2CF9AE}" pid="5" name="MSIP_Label_5bf4bb52-9e9d-4296-940a-59002820a53c_Name">
    <vt:lpwstr>5bf4bb52-9e9d-4296-940a-59002820a53c</vt:lpwstr>
  </property>
  <property fmtid="{D5CDD505-2E9C-101B-9397-08002B2CF9AE}" pid="6" name="MSIP_Label_5bf4bb52-9e9d-4296-940a-59002820a53c_SiteId">
    <vt:lpwstr>cbeb3ecc-6f45-4183-b5a8-088140deae5d</vt:lpwstr>
  </property>
  <property fmtid="{D5CDD505-2E9C-101B-9397-08002B2CF9AE}" pid="7" name="MSIP_Label_5bf4bb52-9e9d-4296-940a-59002820a53c_ActionId">
    <vt:lpwstr>e7205b18-8d0b-4616-85af-5f1ff3f81136</vt:lpwstr>
  </property>
  <property fmtid="{D5CDD505-2E9C-101B-9397-08002B2CF9AE}" pid="8" name="MSIP_Label_5bf4bb52-9e9d-4296-940a-59002820a53c_ContentBits">
    <vt:lpwstr>0</vt:lpwstr>
  </property>
</Properties>
</file>